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8" r:id="rId2"/>
    <p:sldId id="320" r:id="rId3"/>
    <p:sldId id="326" r:id="rId4"/>
    <p:sldId id="303" r:id="rId5"/>
    <p:sldId id="304" r:id="rId6"/>
    <p:sldId id="324" r:id="rId7"/>
    <p:sldId id="308" r:id="rId8"/>
    <p:sldId id="309" r:id="rId9"/>
    <p:sldId id="315" r:id="rId10"/>
    <p:sldId id="314" r:id="rId11"/>
    <p:sldId id="299" r:id="rId12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 snapToGrid="0" showGuides="1">
      <p:cViewPr>
        <p:scale>
          <a:sx n="100" d="100"/>
          <a:sy n="100" d="100"/>
        </p:scale>
        <p:origin x="-1860" y="-240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5/04/2018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855E64-DD61-4753-9B6C-C18CF73647B4}" type="datetimeFigureOut">
              <a:rPr lang="sv-SE" smtClean="0"/>
              <a:t>2018-04-25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32FA7E-8996-4A0F-AFD0-BDE27149310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109187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5265400"/>
            <a:ext cx="9144000" cy="15925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0.png"/><Relationship Id="rId3" Type="http://schemas.openxmlformats.org/officeDocument/2006/relationships/image" Target="../media/image25.png"/><Relationship Id="rId7" Type="http://schemas.openxmlformats.org/officeDocument/2006/relationships/image" Target="../media/image9.gi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20.png"/><Relationship Id="rId4" Type="http://schemas.openxmlformats.org/officeDocument/2006/relationships/image" Target="../media/image2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0.pn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51407" y="372616"/>
            <a:ext cx="6984337" cy="1043684"/>
          </a:xfrm>
        </p:spPr>
        <p:txBody>
          <a:bodyPr/>
          <a:lstStyle/>
          <a:p>
            <a:r>
              <a:rPr lang="en-US" dirty="0" smtClean="0"/>
              <a:t>Active Wheelset Steering (AWS)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142501" y="2027041"/>
            <a:ext cx="6987075" cy="2473937"/>
          </a:xfrm>
        </p:spPr>
        <p:txBody>
          <a:bodyPr>
            <a:normAutofit/>
          </a:bodyPr>
          <a:lstStyle/>
          <a:p>
            <a:pPr algn="ctr"/>
            <a:endParaRPr lang="en-US" sz="1800" dirty="0" smtClean="0"/>
          </a:p>
          <a:p>
            <a:pPr algn="ctr"/>
            <a:r>
              <a:rPr lang="en-US" sz="1800" dirty="0" smtClean="0"/>
              <a:t>SD2231</a:t>
            </a:r>
          </a:p>
          <a:p>
            <a:pPr algn="ctr"/>
            <a:r>
              <a:rPr lang="en-US" sz="1800" dirty="0" smtClean="0"/>
              <a:t>May </a:t>
            </a:r>
            <a:r>
              <a:rPr lang="en-US" sz="1800" dirty="0"/>
              <a:t>3</a:t>
            </a:r>
            <a:r>
              <a:rPr lang="en-US" sz="1800" dirty="0" smtClean="0"/>
              <a:t>, 2018</a:t>
            </a:r>
            <a:endParaRPr lang="en-US" sz="1800" dirty="0" smtClean="0"/>
          </a:p>
          <a:p>
            <a:pPr algn="ctr"/>
            <a:endParaRPr lang="en-US" sz="1800" dirty="0" smtClean="0"/>
          </a:p>
          <a:p>
            <a:pPr algn="ctr"/>
            <a:endParaRPr lang="en-US" sz="1800" u="sng" dirty="0" smtClean="0"/>
          </a:p>
          <a:p>
            <a:pPr algn="ctr"/>
            <a:endParaRPr lang="en-US" sz="1800" u="sng" dirty="0"/>
          </a:p>
          <a:p>
            <a:pPr algn="ctr"/>
            <a:r>
              <a:rPr lang="en-US" sz="1800" dirty="0" smtClean="0">
                <a:solidFill>
                  <a:schemeClr val="accent2"/>
                </a:solidFill>
              </a:rPr>
              <a:t>A</a:t>
            </a:r>
            <a:r>
              <a:rPr lang="en-US" sz="1800" dirty="0" smtClean="0">
                <a:solidFill>
                  <a:schemeClr val="accent2"/>
                </a:solidFill>
              </a:rPr>
              <a:t>. Qazizadeh</a:t>
            </a:r>
          </a:p>
          <a:p>
            <a:pPr algn="ctr"/>
            <a:endParaRPr lang="en-US" sz="1800" dirty="0" smtClean="0"/>
          </a:p>
          <a:p>
            <a:pPr algn="ctr">
              <a:lnSpc>
                <a:spcPct val="100000"/>
              </a:lnSpc>
            </a:pPr>
            <a:endParaRPr lang="sv-SE" sz="1800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214370"/>
            <a:ext cx="6935788" cy="668338"/>
          </a:xfrm>
        </p:spPr>
        <p:txBody>
          <a:bodyPr/>
          <a:lstStyle/>
          <a:p>
            <a:r>
              <a:rPr lang="sv-SE" dirty="0"/>
              <a:t>Wear numb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4403" y="4325645"/>
            <a:ext cx="3586580" cy="1463090"/>
          </a:xfrm>
        </p:spPr>
        <p:txBody>
          <a:bodyPr>
            <a:noAutofit/>
          </a:bodyPr>
          <a:lstStyle/>
          <a:p>
            <a:r>
              <a:rPr lang="en-US" sz="1800" dirty="0" smtClean="0"/>
              <a:t>By increasing wheelbase </a:t>
            </a:r>
            <a:r>
              <a:rPr lang="en-US" sz="1800" dirty="0"/>
              <a:t>wear number increases as well. </a:t>
            </a:r>
          </a:p>
          <a:p>
            <a:endParaRPr lang="en-US" sz="1800" dirty="0" smtClean="0"/>
          </a:p>
          <a:p>
            <a:r>
              <a:rPr lang="en-US" sz="1800" dirty="0" smtClean="0"/>
              <a:t>AWS brings significant </a:t>
            </a:r>
            <a:r>
              <a:rPr lang="en-US" sz="1800" dirty="0"/>
              <a:t>reduction in wear number.</a:t>
            </a:r>
            <a:endParaRPr lang="sv-SE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0577" y="2786251"/>
            <a:ext cx="3568820" cy="307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61"/>
          <a:stretch/>
        </p:blipFill>
        <p:spPr bwMode="auto">
          <a:xfrm>
            <a:off x="1336367" y="1903410"/>
            <a:ext cx="2214702" cy="24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893" y="1449352"/>
            <a:ext cx="3368504" cy="1151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805996" y="1168884"/>
            <a:ext cx="15071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/>
              <a:t>wear number [N]</a:t>
            </a:r>
            <a:endParaRPr lang="sv-SE" sz="14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1170326" y="3282856"/>
            <a:ext cx="2667000" cy="874166"/>
            <a:chOff x="1022351" y="2600399"/>
            <a:chExt cx="2667000" cy="874166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1022351" y="2600399"/>
              <a:ext cx="2667000" cy="874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638300" y="3037482"/>
              <a:ext cx="1638300" cy="0"/>
            </a:xfrm>
            <a:prstGeom prst="straightConnector1">
              <a:avLst/>
            </a:prstGeom>
            <a:ln>
              <a:solidFill>
                <a:srgbClr val="FF0000"/>
              </a:solidFill>
              <a:prstDash val="dash"/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Box 9"/>
                <p:cNvSpPr txBox="1"/>
                <p:nvPr/>
              </p:nvSpPr>
              <p:spPr>
                <a:xfrm>
                  <a:off x="2140570" y="3024978"/>
                  <a:ext cx="49199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2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2</m:t>
                        </m:r>
                        <m:sSub>
                          <m:sSubPr>
                            <m:ctrlPr>
                              <a:rPr lang="en-US" sz="1200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𝑏</m:t>
                            </m:r>
                          </m:e>
                          <m:sub>
                            <m:r>
                              <a:rPr lang="en-US" sz="1200" b="0" i="1" smtClean="0">
                                <a:solidFill>
                                  <a:srgbClr val="FF0000"/>
                                </a:solidFill>
                                <a:latin typeface="Cambria Math"/>
                              </a:rPr>
                              <m:t>𝑤</m:t>
                            </m:r>
                          </m:sub>
                        </m:sSub>
                      </m:oMath>
                    </m:oMathPara>
                  </a14:m>
                  <a:endParaRPr lang="sv-SE" sz="1200" dirty="0">
                    <a:solidFill>
                      <a:srgbClr val="FF0000"/>
                    </a:solidFill>
                  </a:endParaRPr>
                </a:p>
              </p:txBody>
            </p:sp>
          </mc:Choice>
          <mc:Fallback xmlns="">
            <p:sp>
              <p:nvSpPr>
                <p:cNvPr id="10" name="TextBox 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40570" y="3024978"/>
                  <a:ext cx="491994" cy="276999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2" name="TextBox 11"/>
          <p:cNvSpPr txBox="1"/>
          <p:nvPr/>
        </p:nvSpPr>
        <p:spPr>
          <a:xfrm>
            <a:off x="921704" y="2871214"/>
            <a:ext cx="3416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Increasing axle distance by 2 m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91863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243527" y="569970"/>
            <a:ext cx="6935788" cy="668338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ut-off </a:t>
            </a:r>
            <a:r>
              <a:rPr lang="en-US" dirty="0"/>
              <a:t>frequency:</a:t>
            </a:r>
            <a:br>
              <a:rPr lang="en-US" dirty="0"/>
            </a:b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>
                <a:solidFill>
                  <a:srgbClr val="FF0000"/>
                </a:solidFill>
              </a:rPr>
              <a:t>Cut-off frequency </a:t>
            </a:r>
            <a:r>
              <a:rPr lang="en-US" sz="1800" dirty="0" smtClean="0"/>
              <a:t>is </a:t>
            </a:r>
            <a:r>
              <a:rPr lang="en-US" sz="1800" dirty="0"/>
              <a:t>a boundary in a system’s frequency response at which </a:t>
            </a:r>
            <a:r>
              <a:rPr lang="en-US" sz="1800" dirty="0" smtClean="0"/>
              <a:t>energy flowing </a:t>
            </a:r>
            <a:r>
              <a:rPr lang="en-US" sz="1800" dirty="0"/>
              <a:t>through the system </a:t>
            </a:r>
            <a:r>
              <a:rPr lang="en-US" sz="1800" dirty="0" smtClean="0"/>
              <a:t>is </a:t>
            </a:r>
            <a:r>
              <a:rPr lang="en-US" sz="1800" dirty="0"/>
              <a:t>dropped to half the pass-band </a:t>
            </a:r>
            <a:r>
              <a:rPr lang="en-US" sz="1800" dirty="0" smtClean="0"/>
              <a:t>power:</a:t>
            </a:r>
            <a:endParaRPr lang="en-US" sz="1800" dirty="0"/>
          </a:p>
          <a:p>
            <a:endParaRPr lang="en-US" sz="18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5"/>
          <a:stretch/>
        </p:blipFill>
        <p:spPr bwMode="auto">
          <a:xfrm>
            <a:off x="2652926" y="2883711"/>
            <a:ext cx="4116990" cy="302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69514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2893" y="431800"/>
            <a:ext cx="7081838" cy="457258"/>
          </a:xfrm>
        </p:spPr>
        <p:txBody>
          <a:bodyPr/>
          <a:lstStyle/>
          <a:p>
            <a:r>
              <a:rPr lang="en-US" dirty="0" smtClean="0"/>
              <a:t>Two-axle rail vehic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7411" y="1295797"/>
            <a:ext cx="4580876" cy="2731808"/>
          </a:xfrm>
        </p:spPr>
        <p:txBody>
          <a:bodyPr>
            <a:normAutofit/>
          </a:bodyPr>
          <a:lstStyle/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dirty="0" smtClean="0"/>
              <a:t>poor comfort</a:t>
            </a: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low hunting </a:t>
            </a:r>
            <a:r>
              <a:rPr lang="en-US" sz="1800" dirty="0" smtClean="0"/>
              <a:t>speed</a:t>
            </a: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limited wheelbase (limiting capacity)</a:t>
            </a: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400" i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  <p:grpSp>
        <p:nvGrpSpPr>
          <p:cNvPr id="6" name="Group 5"/>
          <p:cNvGrpSpPr/>
          <p:nvPr/>
        </p:nvGrpSpPr>
        <p:grpSpPr>
          <a:xfrm>
            <a:off x="5782802" y="1141909"/>
            <a:ext cx="3076895" cy="2219169"/>
            <a:chOff x="5504818" y="1383246"/>
            <a:chExt cx="3076895" cy="2219169"/>
          </a:xfrm>
        </p:grpSpPr>
        <p:pic>
          <p:nvPicPr>
            <p:cNvPr id="3074" name="Picture 2" descr="C:\Users\Alireza\Downloads\extHbinsMalmo2004stor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4818" y="1691023"/>
              <a:ext cx="3052592" cy="1911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5582174" y="1383246"/>
              <a:ext cx="29995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Candidate for a passenger vehicle?</a:t>
              </a:r>
              <a:endParaRPr lang="sv-SE" sz="1400" dirty="0"/>
            </a:p>
          </p:txBody>
        </p:sp>
      </p:grpSp>
      <p:cxnSp>
        <p:nvCxnSpPr>
          <p:cNvPr id="13" name="Elbow Connector 12"/>
          <p:cNvCxnSpPr/>
          <p:nvPr/>
        </p:nvCxnSpPr>
        <p:spPr>
          <a:xfrm>
            <a:off x="643309" y="2672084"/>
            <a:ext cx="625581" cy="314127"/>
          </a:xfrm>
          <a:prstGeom prst="bentConnector3">
            <a:avLst>
              <a:gd name="adj1" fmla="val 1277"/>
            </a:avLst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658802" y="2672084"/>
            <a:ext cx="643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Why?</a:t>
            </a:r>
            <a:endParaRPr lang="sv-SE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1224440" y="2832967"/>
            <a:ext cx="4002762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no </a:t>
            </a:r>
            <a:r>
              <a:rPr lang="en-US" sz="1400" dirty="0" smtClean="0"/>
              <a:t>bogie          poor </a:t>
            </a:r>
            <a:r>
              <a:rPr lang="en-US" sz="1400" dirty="0"/>
              <a:t>curving (wear, squeal noise)</a:t>
            </a:r>
          </a:p>
          <a:p>
            <a:r>
              <a:rPr lang="en-US" sz="1400" dirty="0" smtClean="0"/>
              <a:t>        limited </a:t>
            </a:r>
            <a:r>
              <a:rPr lang="en-US" sz="1400" dirty="0"/>
              <a:t>wheelbase</a:t>
            </a:r>
          </a:p>
          <a:p>
            <a:endParaRPr lang="sv-SE" dirty="0"/>
          </a:p>
        </p:txBody>
      </p:sp>
      <p:sp>
        <p:nvSpPr>
          <p:cNvPr id="23" name="Right Arrow 22"/>
          <p:cNvSpPr/>
          <p:nvPr/>
        </p:nvSpPr>
        <p:spPr>
          <a:xfrm>
            <a:off x="2061511" y="2919734"/>
            <a:ext cx="373574" cy="13295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1301927" y="3138611"/>
            <a:ext cx="373574" cy="13295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pic>
        <p:nvPicPr>
          <p:cNvPr id="2050" name="Picture 2" descr="C:\Users\Alireza\Desktop\R0415.16 Bogie steeri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298" y="4023361"/>
            <a:ext cx="4178644" cy="1430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3560445" y="4355783"/>
            <a:ext cx="45720" cy="6858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5088255" y="4355783"/>
            <a:ext cx="45720" cy="6858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574030" y="4630103"/>
            <a:ext cx="45720" cy="6858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1268730" y="6195060"/>
            <a:ext cx="45720" cy="6858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3057525" y="4630103"/>
            <a:ext cx="45720" cy="6858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351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509530"/>
          </a:xfrm>
        </p:spPr>
        <p:txBody>
          <a:bodyPr/>
          <a:lstStyle/>
          <a:p>
            <a:r>
              <a:rPr lang="en-US" dirty="0" smtClean="0"/>
              <a:t>Active Wheelset steering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5" name="TextBox 4"/>
          <p:cNvSpPr txBox="1"/>
          <p:nvPr/>
        </p:nvSpPr>
        <p:spPr>
          <a:xfrm>
            <a:off x="577713" y="1254206"/>
            <a:ext cx="534683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ssible solution</a:t>
            </a:r>
            <a:r>
              <a:rPr lang="en-US" dirty="0" smtClean="0"/>
              <a:t>:</a:t>
            </a:r>
          </a:p>
          <a:p>
            <a:r>
              <a:rPr lang="en-US" dirty="0" smtClean="0"/>
              <a:t>Active </a:t>
            </a:r>
            <a:r>
              <a:rPr lang="en-US" dirty="0"/>
              <a:t>Wheelset Steering </a:t>
            </a: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better curving (less wear)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increasing wheelbase (increasing capacity)</a:t>
            </a:r>
            <a:endParaRPr lang="sv-SE" dirty="0"/>
          </a:p>
          <a:p>
            <a:endParaRPr lang="sv-SE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779" y="2151720"/>
            <a:ext cx="2533530" cy="118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790950" y="1866900"/>
            <a:ext cx="14302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Wheelset top view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3165224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377950" y="444500"/>
                <a:ext cx="6935788" cy="501708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b="1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dirty="0" smtClean="0"/>
                  <a:t> controller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377950" y="444500"/>
                <a:ext cx="6935788" cy="501708"/>
              </a:xfrm>
              <a:blipFill rotWithShape="1">
                <a:blip r:embed="rId2"/>
                <a:stretch>
                  <a:fillRect b="-39024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673101" y="2422802"/>
                <a:ext cx="6098959" cy="4078286"/>
              </a:xfrm>
            </p:spPr>
            <p:txBody>
              <a:bodyPr>
                <a:no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/>
                          </a:rPr>
                          <m:t>𝐻</m:t>
                        </m:r>
                      </m:e>
                      <m:sub>
                        <m:r>
                          <a:rPr lang="en-US" sz="1800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sz="1800" dirty="0" smtClean="0"/>
                  <a:t> </a:t>
                </a:r>
                <a:r>
                  <a:rPr lang="sv-SE" sz="1800" dirty="0"/>
                  <a:t>is </a:t>
                </a:r>
                <a:r>
                  <a:rPr lang="sv-SE" sz="1800" dirty="0" smtClean="0"/>
                  <a:t>a model </a:t>
                </a:r>
                <a:r>
                  <a:rPr lang="sv-SE" sz="1800" dirty="0"/>
                  <a:t>based </a:t>
                </a:r>
                <a:r>
                  <a:rPr lang="sv-SE" sz="1800" dirty="0" smtClean="0"/>
                  <a:t>controller            equations of the motion for the vehicle.</a:t>
                </a:r>
              </a:p>
              <a:p>
                <a:endParaRPr lang="sv-SE" sz="1800" dirty="0" smtClean="0"/>
              </a:p>
              <a:p>
                <a:pPr marL="641350" lvl="1" indent="-285750">
                  <a:buClr>
                    <a:srgbClr val="FF0000"/>
                  </a:buClr>
                </a:pPr>
                <a:r>
                  <a:rPr lang="en-US" sz="1800" dirty="0" smtClean="0"/>
                  <a:t>Lateral dynamics is enough</a:t>
                </a:r>
              </a:p>
              <a:p>
                <a:pPr marL="641350" lvl="1" indent="-285750">
                  <a:buClr>
                    <a:srgbClr val="FF0000"/>
                  </a:buClr>
                </a:pPr>
                <a:r>
                  <a:rPr lang="en-US" sz="1800" dirty="0"/>
                  <a:t>2</a:t>
                </a:r>
                <a:r>
                  <a:rPr lang="en-US" sz="1800" dirty="0" smtClean="0"/>
                  <a:t> bodies, 4 degrees of freedom</a:t>
                </a:r>
              </a:p>
              <a:p>
                <a:r>
                  <a:rPr lang="en-US" sz="1800" dirty="0" smtClean="0"/>
                  <a:t>	</a:t>
                </a:r>
                <a:endParaRPr lang="sv-SE" sz="1800" dirty="0"/>
              </a:p>
              <a:p>
                <a:r>
                  <a:rPr lang="sv-SE" sz="1800" dirty="0" smtClean="0"/>
                  <a:t>Equations are then written </a:t>
                </a:r>
                <a:r>
                  <a:rPr lang="sv-SE" sz="1800" dirty="0"/>
                  <a:t>in state space </a:t>
                </a:r>
                <a:r>
                  <a:rPr lang="sv-SE" sz="1800" dirty="0" smtClean="0"/>
                  <a:t>form and then implemented </a:t>
                </a:r>
                <a:r>
                  <a:rPr lang="sv-SE" sz="1800" dirty="0"/>
                  <a:t>in Simulink</a:t>
                </a:r>
                <a:r>
                  <a:rPr lang="sv-SE" sz="1800" dirty="0" smtClean="0"/>
                  <a:t>.</a:t>
                </a:r>
                <a:endParaRPr lang="en-US" sz="1800" dirty="0" smtClean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73101" y="2422802"/>
                <a:ext cx="6098959" cy="4078286"/>
              </a:xfrm>
              <a:blipFill rotWithShape="1">
                <a:blip r:embed="rId3"/>
                <a:stretch>
                  <a:fillRect l="-2298" t="-1794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737157" y="2723528"/>
            <a:ext cx="4651670" cy="1629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673101" y="1311373"/>
                <a:ext cx="586740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Clr>
                    <a:srgbClr val="FF0000"/>
                  </a:buClr>
                  <a:buFont typeface="Arial" panose="020B0604020202020204" pitchFamily="34" charset="0"/>
                  <a:buChar char="•"/>
                </a:pPr>
                <a:r>
                  <a:rPr lang="en-US" dirty="0"/>
                  <a:t>Control strategy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𝐻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dirty="0"/>
                  <a:t> </a:t>
                </a:r>
                <a:r>
                  <a:rPr lang="en-US" dirty="0"/>
                  <a:t>control </a:t>
                </a:r>
              </a:p>
              <a:p>
                <a:pPr marL="827088" indent="-285750">
                  <a:buClr>
                    <a:srgbClr val="FF0000"/>
                  </a:buClr>
                  <a:buFont typeface="Wingdings" panose="05000000000000000000" pitchFamily="2" charset="2"/>
                  <a:buChar char="Ø"/>
                </a:pPr>
                <a:r>
                  <a:rPr lang="en-US" dirty="0"/>
                  <a:t>Why? Robustness to model variations and good      	         disturbance rejection. </a:t>
                </a:r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101" y="1311373"/>
                <a:ext cx="5867400" cy="1200329"/>
              </a:xfrm>
              <a:prstGeom prst="rect">
                <a:avLst/>
              </a:prstGeom>
              <a:blipFill rotWithShape="1">
                <a:blip r:embed="rId5"/>
                <a:stretch>
                  <a:fillRect l="-623" t="-2538" r="-737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Arrow 6"/>
          <p:cNvSpPr/>
          <p:nvPr/>
        </p:nvSpPr>
        <p:spPr>
          <a:xfrm>
            <a:off x="3820324" y="2449136"/>
            <a:ext cx="577048" cy="25745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669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111250" y="239770"/>
                <a:ext cx="6935788" cy="668338"/>
              </a:xfrm>
            </p:spPr>
            <p:txBody>
              <a:bodyPr/>
              <a:lstStyle/>
              <a:p>
                <a:r>
                  <a:rPr lang="en-US" dirty="0" smtClean="0"/>
                  <a:t>Controller design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b="1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dirty="0" smtClean="0"/>
                  <a:t> </a:t>
                </a:r>
                <a:r>
                  <a:rPr lang="sv-SE" dirty="0"/>
                  <a:t>controller</a:t>
                </a:r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111250" y="239770"/>
                <a:ext cx="6935788" cy="668338"/>
              </a:xfrm>
              <a:blipFill rotWithShape="1">
                <a:blip r:embed="rId2"/>
                <a:stretch>
                  <a:fillRect l="-2812" b="-29091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3650" y="3278880"/>
            <a:ext cx="6935788" cy="2955925"/>
          </a:xfrm>
        </p:spPr>
        <p:txBody>
          <a:bodyPr>
            <a:normAutofit/>
          </a:bodyPr>
          <a:lstStyle/>
          <a:p>
            <a:pPr>
              <a:buClr>
                <a:srgbClr val="FF0000"/>
              </a:buClr>
            </a:pPr>
            <a:r>
              <a:rPr lang="en-US" sz="1800" dirty="0" smtClean="0"/>
              <a:t>				</a:t>
            </a:r>
            <a:endParaRPr lang="en-US" sz="18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sv-SE" sz="1800" dirty="0"/>
              <a:t>input		yaw angle of the wheelset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sv-SE" sz="1800" dirty="0"/>
              <a:t>output	</a:t>
            </a:r>
            <a:r>
              <a:rPr lang="en-US" sz="1800" dirty="0"/>
              <a:t> </a:t>
            </a:r>
            <a:r>
              <a:rPr lang="en-US" sz="1800" dirty="0" smtClean="0"/>
              <a:t>torque </a:t>
            </a:r>
            <a:r>
              <a:rPr lang="en-US" sz="1800" dirty="0"/>
              <a:t>to be applied by actuators</a:t>
            </a:r>
            <a:endParaRPr lang="sv-SE" sz="18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>
              <a:buClr>
                <a:srgbClr val="FF0000"/>
              </a:buClr>
            </a:pPr>
            <a:endParaRPr lang="en-US" sz="1800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endParaRPr lang="sv-SE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4422" y="1527273"/>
            <a:ext cx="4262244" cy="1751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0613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276677" y="277870"/>
                <a:ext cx="6935788" cy="668338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b="1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dirty="0"/>
                  <a:t> </a:t>
                </a:r>
                <a:r>
                  <a:rPr lang="sv-SE" dirty="0" smtClean="0"/>
                  <a:t>concept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276677" y="277870"/>
                <a:ext cx="6935788" cy="668338"/>
              </a:xfrm>
              <a:blipFill rotWithShape="1">
                <a:blip r:embed="rId2"/>
                <a:stretch>
                  <a:fillRect b="-2935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105205" y="1314450"/>
                <a:ext cx="7445329" cy="4556279"/>
              </a:xfrm>
            </p:spPr>
            <p:txBody>
              <a:bodyPr>
                <a:normAutofit fontScale="55000" lnSpcReduction="20000"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300" b="1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en-US" sz="3300" b="1" i="1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sz="3300" b="1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sz="3300" b="1" dirty="0" smtClean="0"/>
                  <a:t> norm:</a:t>
                </a:r>
              </a:p>
              <a:p>
                <a:r>
                  <a:rPr lang="en-US" sz="3300" dirty="0" smtClean="0"/>
                  <a:t>of a transfer function is</a:t>
                </a:r>
                <a:r>
                  <a:rPr lang="en-US" sz="3300" dirty="0" smtClean="0">
                    <a:solidFill>
                      <a:srgbClr val="FF0000"/>
                    </a:solidFill>
                  </a:rPr>
                  <a:t> </a:t>
                </a:r>
                <a:r>
                  <a:rPr lang="en-US" sz="3300" dirty="0" smtClean="0"/>
                  <a:t>its </a:t>
                </a:r>
                <a:r>
                  <a:rPr lang="en-US" sz="3300" dirty="0"/>
                  <a:t>maximum magnitude</a:t>
                </a:r>
                <a:r>
                  <a:rPr lang="en-US" sz="3300" dirty="0" smtClean="0"/>
                  <a:t> </a:t>
                </a:r>
                <a:r>
                  <a:rPr lang="en-US" sz="3300" dirty="0"/>
                  <a:t>over the whole frequency range. </a:t>
                </a:r>
                <a:endParaRPr lang="sv-SE" sz="3300" dirty="0" smtClean="0"/>
              </a:p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sv-SE" sz="3300" i="1">
                            <a:latin typeface="Cambria Math"/>
                          </a:rPr>
                        </m:ctrlPr>
                      </m:sSubPr>
                      <m:e>
                        <m:d>
                          <m:dPr>
                            <m:begChr m:val="‖"/>
                            <m:endChr m:val="‖"/>
                            <m:ctrlPr>
                              <a:rPr lang="sv-SE" sz="3300" i="1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3300" b="0" i="1" smtClean="0">
                                <a:latin typeface="Cambria Math"/>
                              </a:rPr>
                              <m:t>𝑇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(</m:t>
                            </m:r>
                            <m:r>
                              <a:rPr lang="sv-SE" sz="3300" b="0" i="1" smtClean="0">
                                <a:latin typeface="Cambria Math"/>
                              </a:rPr>
                              <m:t>𝑖𝑤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)</m:t>
                            </m:r>
                          </m:e>
                        </m:d>
                      </m:e>
                      <m:sub>
                        <m:r>
                          <a:rPr lang="en-GB" sz="3300" i="1">
                            <a:latin typeface="Cambria Math"/>
                          </a:rPr>
                          <m:t>∞</m:t>
                        </m:r>
                      </m:sub>
                    </m:sSub>
                    <m:r>
                      <a:rPr lang="en-GB" sz="3300" i="1">
                        <a:latin typeface="Cambria Math"/>
                      </a:rPr>
                      <m:t>=</m:t>
                    </m:r>
                    <m:func>
                      <m:funcPr>
                        <m:ctrlPr>
                          <a:rPr lang="sv-SE" sz="3300" i="1">
                            <a:latin typeface="Cambria Math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sv-SE" sz="3300" i="1">
                                <a:latin typeface="Cambria Math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GB" sz="3300">
                                <a:latin typeface="Cambria Math"/>
                              </a:rPr>
                              <m:t>sup</m:t>
                            </m:r>
                          </m:e>
                          <m:lim>
                            <m:r>
                              <a:rPr lang="en-GB" sz="3300" i="1">
                                <a:latin typeface="Cambria Math"/>
                              </a:rPr>
                              <m:t>𝑤</m:t>
                            </m:r>
                          </m:lim>
                        </m:limLow>
                      </m:fName>
                      <m:e>
                        <m:r>
                          <a:rPr lang="en-GB" sz="3300" i="1">
                            <a:latin typeface="Cambria Math"/>
                          </a:rPr>
                          <m:t> </m:t>
                        </m:r>
                        <m:d>
                          <m:dPr>
                            <m:begChr m:val="|"/>
                            <m:endChr m:val="|"/>
                            <m:ctrlPr>
                              <a:rPr lang="sv-SE" sz="3300" i="1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3300" b="0" i="1" smtClean="0">
                                <a:latin typeface="Cambria Math"/>
                              </a:rPr>
                              <m:t>𝑇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(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𝑖𝑤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)</m:t>
                            </m:r>
                          </m:e>
                        </m:d>
                      </m:e>
                    </m:func>
                    <m:r>
                      <a:rPr lang="en-GB" sz="3300" i="1">
                        <a:latin typeface="Cambria Math"/>
                      </a:rPr>
                      <m:t> </m:t>
                    </m:r>
                  </m:oMath>
                </a14:m>
                <a:r>
                  <a:rPr lang="sv-SE" sz="1800" dirty="0"/>
                  <a:t>	</a:t>
                </a:r>
                <a:endParaRPr lang="sv-SE" sz="1800" dirty="0" smtClean="0"/>
              </a:p>
              <a:p>
                <a:endParaRPr lang="sv-SE" sz="1800" dirty="0" smtClean="0"/>
              </a:p>
              <a:p>
                <a:endParaRPr lang="sv-SE" sz="1800" dirty="0"/>
              </a:p>
              <a:p>
                <a:endParaRPr lang="sv-SE" sz="1800" dirty="0"/>
              </a:p>
              <a:p>
                <a:endParaRPr lang="sv-SE" sz="1800" dirty="0" smtClean="0"/>
              </a:p>
            </p:txBody>
          </p:sp>
        </mc:Choice>
        <mc:Fallback xmlns="">
          <p:sp>
            <p:nvSpPr>
              <p:cNvPr id="5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105205" y="1314450"/>
                <a:ext cx="7445329" cy="4556279"/>
              </a:xfrm>
              <a:blipFill rotWithShape="1">
                <a:blip r:embed="rId3"/>
                <a:stretch>
                  <a:fillRect l="-1882" t="-2945" r="-2209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oup 5"/>
          <p:cNvGrpSpPr/>
          <p:nvPr/>
        </p:nvGrpSpPr>
        <p:grpSpPr>
          <a:xfrm>
            <a:off x="5666115" y="2415828"/>
            <a:ext cx="2795260" cy="1441541"/>
            <a:chOff x="1663700" y="3263809"/>
            <a:chExt cx="2795260" cy="1441541"/>
          </a:xfrm>
        </p:grpSpPr>
        <p:cxnSp>
          <p:nvCxnSpPr>
            <p:cNvPr id="7" name="Straight Arrow Connector 6"/>
            <p:cNvCxnSpPr/>
            <p:nvPr/>
          </p:nvCxnSpPr>
          <p:spPr>
            <a:xfrm>
              <a:off x="1663700" y="3898900"/>
              <a:ext cx="514350" cy="635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>
              <a:endCxn id="10" idx="1"/>
            </p:cNvCxnSpPr>
            <p:nvPr/>
          </p:nvCxnSpPr>
          <p:spPr>
            <a:xfrm>
              <a:off x="2457450" y="3911600"/>
              <a:ext cx="609600" cy="317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Oval 8"/>
            <p:cNvSpPr/>
            <p:nvPr/>
          </p:nvSpPr>
          <p:spPr>
            <a:xfrm>
              <a:off x="2178050" y="3778250"/>
              <a:ext cx="279400" cy="254000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000" dirty="0" err="1" smtClean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tangle 9"/>
                <p:cNvSpPr/>
                <p:nvPr/>
              </p:nvSpPr>
              <p:spPr>
                <a:xfrm>
                  <a:off x="3067050" y="3756025"/>
                  <a:ext cx="514350" cy="317500"/>
                </a:xfrm>
                <a:prstGeom prst="rect">
                  <a:avLst/>
                </a:prstGeom>
                <a:noFill/>
                <a:ln w="127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𝑃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(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𝑠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)</m:t>
                        </m:r>
                      </m:oMath>
                    </m:oMathPara>
                  </a14:m>
                  <a:endParaRPr lang="sv-SE" sz="1400" dirty="0" err="1" smtClean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0" name="Rectangle 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67050" y="3756025"/>
                  <a:ext cx="514350" cy="317500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b="-5556"/>
                  </a:stretch>
                </a:blipFill>
                <a:ln w="12700">
                  <a:solidFill>
                    <a:schemeClr val="accent1"/>
                  </a:solidFill>
                </a:ln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1" name="Straight Arrow Connector 10"/>
            <p:cNvCxnSpPr>
              <a:stCxn id="10" idx="3"/>
            </p:cNvCxnSpPr>
            <p:nvPr/>
          </p:nvCxnSpPr>
          <p:spPr>
            <a:xfrm>
              <a:off x="3581400" y="3914775"/>
              <a:ext cx="850900" cy="1587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Rectangle 11"/>
                <p:cNvSpPr/>
                <p:nvPr/>
              </p:nvSpPr>
              <p:spPr>
                <a:xfrm>
                  <a:off x="3067050" y="4349750"/>
                  <a:ext cx="539750" cy="355600"/>
                </a:xfrm>
                <a:prstGeom prst="rect">
                  <a:avLst/>
                </a:prstGeom>
                <a:noFill/>
                <a:ln w="127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𝐾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(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𝑠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)</m:t>
                        </m:r>
                      </m:oMath>
                    </m:oMathPara>
                  </a14:m>
                  <a:endParaRPr lang="sv-SE" sz="1400" dirty="0" err="1" smtClean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2" name="Rectangle 1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67050" y="4349750"/>
                  <a:ext cx="539750" cy="355600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  <a:ln w="12700">
                  <a:solidFill>
                    <a:schemeClr val="accent1"/>
                  </a:solidFill>
                </a:ln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3" name="Elbow Connector 12"/>
            <p:cNvCxnSpPr>
              <a:endCxn id="12" idx="3"/>
            </p:cNvCxnSpPr>
            <p:nvPr/>
          </p:nvCxnSpPr>
          <p:spPr>
            <a:xfrm rot="5400000">
              <a:off x="3517900" y="4019550"/>
              <a:ext cx="596900" cy="419100"/>
            </a:xfrm>
            <a:prstGeom prst="bentConnector2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Elbow Connector 13"/>
            <p:cNvCxnSpPr>
              <a:endCxn id="9" idx="4"/>
            </p:cNvCxnSpPr>
            <p:nvPr/>
          </p:nvCxnSpPr>
          <p:spPr>
            <a:xfrm rot="10800000">
              <a:off x="2317750" y="4032250"/>
              <a:ext cx="749300" cy="495300"/>
            </a:xfrm>
            <a:prstGeom prst="bentConnector2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2206181" y="3842693"/>
              <a:ext cx="22313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/>
                <a:t>-</a:t>
              </a:r>
              <a:endParaRPr lang="sv-SE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114550" y="3789834"/>
              <a:ext cx="25199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/>
                <a:t>+</a:t>
              </a:r>
              <a:endParaRPr lang="sv-SE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752600" y="3668410"/>
              <a:ext cx="2359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r</a:t>
              </a:r>
              <a:endParaRPr lang="sv-SE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197350" y="3647385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y</a:t>
              </a:r>
              <a:endParaRPr lang="sv-SE" dirty="0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2006600" y="3543027"/>
              <a:ext cx="2203450" cy="171723"/>
            </a:xfrm>
            <a:custGeom>
              <a:avLst/>
              <a:gdLst>
                <a:gd name="connsiteX0" fmla="*/ 0 w 2203450"/>
                <a:gd name="connsiteY0" fmla="*/ 139973 h 171723"/>
                <a:gd name="connsiteX1" fmla="*/ 1117600 w 2203450"/>
                <a:gd name="connsiteY1" fmla="*/ 273 h 171723"/>
                <a:gd name="connsiteX2" fmla="*/ 2203450 w 2203450"/>
                <a:gd name="connsiteY2" fmla="*/ 171723 h 171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03450" h="171723">
                  <a:moveTo>
                    <a:pt x="0" y="139973"/>
                  </a:moveTo>
                  <a:cubicBezTo>
                    <a:pt x="375179" y="67477"/>
                    <a:pt x="750358" y="-5019"/>
                    <a:pt x="1117600" y="273"/>
                  </a:cubicBezTo>
                  <a:cubicBezTo>
                    <a:pt x="1484842" y="5565"/>
                    <a:pt x="2022475" y="134681"/>
                    <a:pt x="2203450" y="171723"/>
                  </a:cubicBezTo>
                </a:path>
              </a:pathLst>
            </a:custGeom>
            <a:noFill/>
            <a:ln w="12700">
              <a:solidFill>
                <a:srgbClr val="FF0000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60264" y="3263809"/>
              <a:ext cx="50206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T(s)</a:t>
              </a:r>
              <a:endParaRPr lang="sv-SE" sz="1400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084" name="TextBox 3083"/>
              <p:cNvSpPr txBox="1"/>
              <p:nvPr/>
            </p:nvSpPr>
            <p:spPr>
              <a:xfrm>
                <a:off x="946151" y="2989285"/>
                <a:ext cx="4675514" cy="25853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𝐻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dirty="0"/>
                  <a:t> control tries to  design the controller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/>
                      </a:rPr>
                      <m:t>𝐾</m:t>
                    </m:r>
                  </m:oMath>
                </a14:m>
                <a:r>
                  <a:rPr lang="en-US" dirty="0"/>
                  <a:t> such that the infinity norm of the closed loop transfer function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𝑇</m:t>
                    </m:r>
                    <m:r>
                      <a:rPr lang="en-US" i="1">
                        <a:latin typeface="Cambria Math"/>
                      </a:rPr>
                      <m:t>(</m:t>
                    </m:r>
                    <m:r>
                      <a:rPr lang="en-US" i="1">
                        <a:latin typeface="Cambria Math"/>
                      </a:rPr>
                      <m:t>𝑠</m:t>
                    </m:r>
                    <m:r>
                      <a:rPr lang="en-US" i="1">
                        <a:latin typeface="Cambria Math"/>
                      </a:rPr>
                      <m:t>)</m:t>
                    </m:r>
                  </m:oMath>
                </a14:m>
                <a:r>
                  <a:rPr lang="en-US" dirty="0"/>
                  <a:t> is minimized.</a:t>
                </a:r>
              </a:p>
              <a:p>
                <a:endParaRPr lang="en-US" dirty="0"/>
              </a:p>
              <a:p>
                <a:endParaRPr lang="en-US" dirty="0"/>
              </a:p>
              <a:p>
                <a:pPr algn="just"/>
                <a:r>
                  <a:rPr lang="en-US" dirty="0"/>
                  <a:t>We can </a:t>
                </a:r>
                <a:r>
                  <a:rPr lang="en-US" dirty="0" smtClean="0"/>
                  <a:t>focus this minimization process on </a:t>
                </a:r>
                <a:r>
                  <a:rPr lang="en-US" dirty="0"/>
                  <a:t>specific </a:t>
                </a:r>
                <a:r>
                  <a:rPr lang="en-US" dirty="0" smtClean="0"/>
                  <a:t>frequency ranges </a:t>
                </a:r>
                <a:r>
                  <a:rPr lang="en-US" dirty="0"/>
                  <a:t>by proper weighting functions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𝑊</m:t>
                    </m:r>
                    <m:r>
                      <a:rPr lang="en-US" i="1">
                        <a:latin typeface="Cambria Math"/>
                      </a:rPr>
                      <m:t>(</m:t>
                    </m:r>
                    <m:r>
                      <a:rPr lang="en-US" i="1">
                        <a:latin typeface="Cambria Math"/>
                      </a:rPr>
                      <m:t>𝑠</m:t>
                    </m:r>
                    <m:r>
                      <a:rPr lang="en-US" i="1">
                        <a:latin typeface="Cambria Math"/>
                      </a:rPr>
                      <m:t>)</m:t>
                    </m:r>
                  </m:oMath>
                </a14:m>
                <a:r>
                  <a:rPr lang="en-US" dirty="0"/>
                  <a:t> (penalizing)</a:t>
                </a:r>
                <a:endParaRPr lang="sv-SE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084" name="TextBox 308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6151" y="2989285"/>
                <a:ext cx="4675514" cy="2585323"/>
              </a:xfrm>
              <a:prstGeom prst="rect">
                <a:avLst/>
              </a:prstGeom>
              <a:blipFill rotWithShape="1">
                <a:blip r:embed="rId6"/>
                <a:stretch>
                  <a:fillRect l="-1043" t="-1179" r="-117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086" name="Group 3085"/>
          <p:cNvGrpSpPr/>
          <p:nvPr/>
        </p:nvGrpSpPr>
        <p:grpSpPr>
          <a:xfrm>
            <a:off x="5975463" y="3908169"/>
            <a:ext cx="2538496" cy="1844361"/>
            <a:chOff x="5432669" y="2908328"/>
            <a:chExt cx="2800106" cy="2047925"/>
          </a:xfrm>
        </p:grpSpPr>
        <p:pic>
          <p:nvPicPr>
            <p:cNvPr id="3074" name="Picture 2" descr="C:\Users\Alireza\Downloads\Figure13a.GIF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" t="13213" r="52222" b="6137"/>
            <a:stretch/>
          </p:blipFill>
          <p:spPr bwMode="auto">
            <a:xfrm>
              <a:off x="5432669" y="3220149"/>
              <a:ext cx="2800106" cy="1736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Straight Connector 21"/>
            <p:cNvCxnSpPr/>
            <p:nvPr/>
          </p:nvCxnSpPr>
          <p:spPr>
            <a:xfrm>
              <a:off x="5753974" y="4239402"/>
              <a:ext cx="337482" cy="4374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V="1">
              <a:off x="6102350" y="3218300"/>
              <a:ext cx="396875" cy="184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V="1">
              <a:off x="6080562" y="3220149"/>
              <a:ext cx="21788" cy="1019255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6499225" y="3220149"/>
              <a:ext cx="92075" cy="102362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6591300" y="4239402"/>
              <a:ext cx="762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5" name="TextBox 3084"/>
                <p:cNvSpPr txBox="1"/>
                <p:nvPr/>
              </p:nvSpPr>
              <p:spPr>
                <a:xfrm>
                  <a:off x="5972364" y="2908328"/>
                  <a:ext cx="65684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𝑊</m:t>
                        </m:r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(</m:t>
                        </m:r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𝑆</m:t>
                        </m:r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)</m:t>
                        </m:r>
                      </m:oMath>
                    </m:oMathPara>
                  </a14:m>
                  <a:endParaRPr lang="sv-SE" sz="1400" dirty="0">
                    <a:solidFill>
                      <a:srgbClr val="FF0000"/>
                    </a:solidFill>
                  </a:endParaRPr>
                </a:p>
              </p:txBody>
            </p:sp>
          </mc:Choice>
          <mc:Fallback xmlns="">
            <p:sp>
              <p:nvSpPr>
                <p:cNvPr id="3085" name="TextBox 308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972364" y="2908328"/>
                  <a:ext cx="656846" cy="307777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 b="-22222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" name="TextBox 2"/>
          <p:cNvSpPr txBox="1"/>
          <p:nvPr/>
        </p:nvSpPr>
        <p:spPr>
          <a:xfrm>
            <a:off x="6881182" y="5682680"/>
            <a:ext cx="9671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frequency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3276273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8400" y="406400"/>
            <a:ext cx="6935788" cy="466278"/>
          </a:xfrm>
        </p:spPr>
        <p:txBody>
          <a:bodyPr/>
          <a:lstStyle/>
          <a:p>
            <a:r>
              <a:rPr lang="en-US" dirty="0" smtClean="0"/>
              <a:t>Weighting functions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174750" y="1690461"/>
                <a:ext cx="7392063" cy="4078286"/>
              </a:xfrm>
            </p:spPr>
            <p:txBody>
              <a:bodyPr>
                <a:normAutofit/>
              </a:bodyPr>
              <a:lstStyle/>
              <a:p>
                <a:endParaRPr lang="sv-SE" dirty="0" smtClean="0"/>
              </a:p>
              <a:p>
                <a:endParaRPr lang="sv-SE" dirty="0"/>
              </a:p>
              <a:p>
                <a:endParaRPr lang="sv-SE" dirty="0" smtClean="0"/>
              </a:p>
              <a:p>
                <a:endParaRPr lang="sv-SE" dirty="0"/>
              </a:p>
              <a:p>
                <a:endParaRPr lang="en-US" dirty="0" smtClean="0"/>
              </a:p>
              <a:p>
                <a:endParaRPr lang="en-US" dirty="0"/>
              </a:p>
              <a:p>
                <a:r>
                  <a:rPr lang="en-US" sz="1800" dirty="0" smtClean="0"/>
                  <a:t>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/>
                          </a:rPr>
                          <m:t>𝐻</m:t>
                        </m:r>
                      </m:e>
                      <m:sub>
                        <m:r>
                          <a:rPr lang="en-US" sz="1800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sz="1800" dirty="0" smtClean="0"/>
                  <a:t>control is tuned through selection of weighting functions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174750" y="1690461"/>
                <a:ext cx="7392063" cy="4078286"/>
              </a:xfrm>
              <a:blipFill rotWithShape="1">
                <a:blip r:embed="rId2"/>
                <a:stretch>
                  <a:fillRect l="-1980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776" y="4274134"/>
            <a:ext cx="1207362" cy="645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012" y="4399994"/>
            <a:ext cx="1154098" cy="519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853" y="1060271"/>
            <a:ext cx="4146424" cy="2686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 descr="C:\Users\Alireza\Desktop\Alireza's Documents\PhD\Papers, Conf. &amp; Seminars\JRC 16\Presentation- railway seminar\Figures\lowpas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601" y="2099376"/>
            <a:ext cx="326707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Alireza\Desktop\Alireza's Documents\PhD\Papers, Conf. &amp; Seminars\JRC 16\Presentation- railway seminar\Figures\highpass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601" y="538510"/>
            <a:ext cx="326707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550416" y="5122416"/>
                <a:ext cx="355687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𝐾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𝑐</m:t>
                        </m:r>
                      </m:sub>
                    </m:sSub>
                    <m:r>
                      <a:rPr lang="sv-SE" i="1">
                        <a:latin typeface="Cambria Math"/>
                      </a:rPr>
                      <m:t> </m:t>
                    </m:r>
                  </m:oMath>
                </a14:m>
                <a:r>
                  <a:rPr lang="en-US" dirty="0" smtClean="0"/>
                  <a:t>related </a:t>
                </a:r>
                <a:r>
                  <a:rPr lang="en-US" dirty="0"/>
                  <a:t>to maximum </a:t>
                </a:r>
                <a:r>
                  <a:rPr lang="en-US" dirty="0" smtClean="0"/>
                  <a:t>load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/>
                          </a:rPr>
                          <m:t>𝑤</m:t>
                        </m:r>
                      </m:e>
                      <m:sub>
                        <m:r>
                          <a:rPr lang="sv-SE" b="0" i="1" smtClean="0">
                            <a:latin typeface="Cambria Math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dirty="0" smtClean="0"/>
                  <a:t> the actuator cut-off frequency</a:t>
                </a:r>
                <a:endParaRPr lang="sv-SE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416" y="5122416"/>
                <a:ext cx="3556871" cy="646331"/>
              </a:xfrm>
              <a:prstGeom prst="rect">
                <a:avLst/>
              </a:prstGeom>
              <a:blipFill rotWithShape="1">
                <a:blip r:embed="rId8"/>
                <a:stretch>
                  <a:fillRect t="-4717" b="-14151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4190948" y="5122416"/>
                <a:ext cx="566838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/>
                          </a:rPr>
                          <m:t>𝐾</m:t>
                        </m:r>
                      </m:e>
                      <m:sub>
                        <m:r>
                          <a:rPr lang="sv-SE" b="0" i="1" smtClean="0">
                            <a:latin typeface="Cambria Math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US" i="1" dirty="0" smtClean="0"/>
                  <a:t> </a:t>
                </a:r>
                <a:r>
                  <a:rPr lang="en-US" dirty="0" smtClean="0"/>
                  <a:t>related to</a:t>
                </a:r>
                <a:r>
                  <a:rPr lang="en-US" dirty="0"/>
                  <a:t> </a:t>
                </a:r>
                <a:r>
                  <a:rPr lang="en-US" dirty="0" smtClean="0"/>
                  <a:t>desired </a:t>
                </a:r>
                <a:r>
                  <a:rPr lang="en-US" dirty="0"/>
                  <a:t>steady state tracking error </a:t>
                </a:r>
                <a:endParaRPr lang="en-US" dirty="0" smtClean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/>
                          </a:rPr>
                          <m:t>𝜏</m:t>
                        </m:r>
                      </m:e>
                      <m:sub>
                        <m:r>
                          <a:rPr lang="sv-SE" b="0" i="1" smtClean="0">
                            <a:latin typeface="Cambria Math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US" i="1" dirty="0" smtClean="0"/>
                  <a:t> </a:t>
                </a:r>
                <a:r>
                  <a:rPr lang="en-US" dirty="0"/>
                  <a:t>affects the system time constant.</a:t>
                </a:r>
                <a:endParaRPr lang="sv-SE" dirty="0"/>
              </a:p>
              <a:p>
                <a:endParaRPr lang="sv-SE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90948" y="5122416"/>
                <a:ext cx="5668380" cy="1200329"/>
              </a:xfrm>
              <a:prstGeom prst="rect">
                <a:avLst/>
              </a:prstGeom>
              <a:blipFill rotWithShape="1">
                <a:blip r:embed="rId9"/>
                <a:stretch>
                  <a:fillRect t="-253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289403" y="1536699"/>
            <a:ext cx="8853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accent2"/>
                </a:solidFill>
              </a:rPr>
              <a:t>reference yaw angle</a:t>
            </a:r>
            <a:endParaRPr lang="sv-SE" sz="1000" dirty="0">
              <a:solidFill>
                <a:schemeClr val="accent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9403" y="1998364"/>
            <a:ext cx="8853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accent2"/>
                </a:solidFill>
              </a:rPr>
              <a:t>radius, cant angle</a:t>
            </a:r>
            <a:endParaRPr lang="sv-SE" sz="1000" dirty="0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07460" y="2429194"/>
            <a:ext cx="8853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accent2"/>
                </a:solidFill>
              </a:rPr>
              <a:t>wheelset yaw</a:t>
            </a:r>
            <a:endParaRPr lang="sv-SE" sz="1050" dirty="0">
              <a:solidFill>
                <a:schemeClr val="accent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17186" y="3080386"/>
            <a:ext cx="73294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accent2"/>
                </a:solidFill>
              </a:rPr>
              <a:t>error signal</a:t>
            </a:r>
            <a:endParaRPr lang="sv-SE" sz="1050" dirty="0">
              <a:solidFill>
                <a:schemeClr val="accent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09127" y="2733123"/>
            <a:ext cx="6117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accent2"/>
                </a:solidFill>
              </a:rPr>
              <a:t>torque</a:t>
            </a:r>
            <a:endParaRPr lang="sv-SE" sz="105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8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282700" y="246120"/>
                <a:ext cx="6935788" cy="668338"/>
              </a:xfrm>
            </p:spPr>
            <p:txBody>
              <a:bodyPr/>
              <a:lstStyle/>
              <a:p>
                <a:r>
                  <a:rPr lang="sv-SE" dirty="0" smtClean="0"/>
                  <a:t>Designed Controller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/>
                      </a:rPr>
                      <m:t>𝑲</m:t>
                    </m:r>
                  </m:oMath>
                </a14:m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282700" y="246120"/>
                <a:ext cx="6935788" cy="668338"/>
              </a:xfrm>
              <a:blipFill rotWithShape="1">
                <a:blip r:embed="rId2"/>
                <a:stretch>
                  <a:fillRect l="-2812" b="-29091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controller has high magnitude at lower </a:t>
            </a:r>
            <a:r>
              <a:rPr lang="en-US" sz="1800" dirty="0" smtClean="0"/>
              <a:t>frequencies which </a:t>
            </a:r>
            <a:r>
              <a:rPr lang="en-US" sz="1800" dirty="0"/>
              <a:t>provides good reference tracking and low </a:t>
            </a:r>
            <a:r>
              <a:rPr lang="en-US" sz="1800" dirty="0" smtClean="0"/>
              <a:t>magnitude at </a:t>
            </a:r>
            <a:r>
              <a:rPr lang="en-US" sz="1800" dirty="0"/>
              <a:t>higher frequencies for better disturbance rejection.</a:t>
            </a:r>
            <a:endParaRPr lang="sv-SE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3696" y="2876550"/>
            <a:ext cx="3764132" cy="2362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4845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6691" y="239770"/>
            <a:ext cx="6935788" cy="668338"/>
          </a:xfrm>
        </p:spPr>
        <p:txBody>
          <a:bodyPr/>
          <a:lstStyle/>
          <a:p>
            <a:r>
              <a:rPr lang="sv-SE" dirty="0" smtClean="0"/>
              <a:t>Actuator force reques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9778" y="2212186"/>
            <a:ext cx="3349614" cy="217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41" y="2763172"/>
            <a:ext cx="2586042" cy="1269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975162" y="2712858"/>
            <a:ext cx="15092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Random</a:t>
            </a:r>
            <a:r>
              <a:rPr lang="sv-SE" sz="1200" dirty="0"/>
              <a:t> </a:t>
            </a:r>
            <a:r>
              <a:rPr lang="sv-SE" sz="1200" dirty="0" smtClean="0"/>
              <a:t>behaviour</a:t>
            </a:r>
            <a:endParaRPr lang="sv-SE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1454515" y="4757485"/>
            <a:ext cx="13560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Follows low frequency and disregards high frequencies.</a:t>
            </a:r>
            <a:endParaRPr lang="sv-SE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504876" y="2069082"/>
            <a:ext cx="21808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Low frequency content as expected from the physics of the problem.</a:t>
            </a:r>
            <a:endParaRPr lang="sv-SE" sz="1200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4045396" y="4208837"/>
            <a:ext cx="0" cy="347873"/>
          </a:xfrm>
          <a:prstGeom prst="straightConnector1">
            <a:avLst/>
          </a:prstGeom>
          <a:ln w="127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2810528" y="3668700"/>
            <a:ext cx="442260" cy="139820"/>
          </a:xfrm>
          <a:prstGeom prst="straightConnector1">
            <a:avLst/>
          </a:prstGeom>
          <a:ln w="127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/>
          <p:nvPr/>
        </p:nvCxnSpPr>
        <p:spPr>
          <a:xfrm>
            <a:off x="5133975" y="3333750"/>
            <a:ext cx="1370240" cy="125717"/>
          </a:xfrm>
          <a:prstGeom prst="bentConnector3">
            <a:avLst>
              <a:gd name="adj1" fmla="val 298"/>
            </a:avLst>
          </a:prstGeom>
          <a:ln w="127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 descr="C:\Users\Alireza\Desktop\active yaw angl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4215" y="2994667"/>
            <a:ext cx="2298698" cy="124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Alireza\Desktop\Controller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55"/>
          <a:stretch/>
        </p:blipFill>
        <p:spPr bwMode="auto">
          <a:xfrm>
            <a:off x="2636565" y="4574755"/>
            <a:ext cx="2831254" cy="119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592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centiate seminar_AQ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icentiate seminar_AQ</Template>
  <TotalTime>3116</TotalTime>
  <Words>439</Words>
  <Application>Microsoft Office PowerPoint</Application>
  <PresentationFormat>On-screen Show (4:3)</PresentationFormat>
  <Paragraphs>108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Licentiate seminar_AQ</vt:lpstr>
      <vt:lpstr>think-cell Slide</vt:lpstr>
      <vt:lpstr>Active Wheelset Steering (AWS)</vt:lpstr>
      <vt:lpstr>Two-axle rail vehicle</vt:lpstr>
      <vt:lpstr>Active Wheelset steering</vt:lpstr>
      <vt:lpstr>H_∞ controller</vt:lpstr>
      <vt:lpstr>Controller design: H_∞ controller</vt:lpstr>
      <vt:lpstr>H_∞ concept</vt:lpstr>
      <vt:lpstr>Weighting functions</vt:lpstr>
      <vt:lpstr>Designed Controller K</vt:lpstr>
      <vt:lpstr>Actuator force request</vt:lpstr>
      <vt:lpstr>Wear number</vt:lpstr>
      <vt:lpstr>  Cut-off frequency: </vt:lpstr>
    </vt:vector>
  </TitlesOfParts>
  <Company>H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reza</dc:creator>
  <cp:lastModifiedBy>Alireza</cp:lastModifiedBy>
  <cp:revision>197</cp:revision>
  <cp:lastPrinted>2013-05-27T09:10:21Z</cp:lastPrinted>
  <dcterms:created xsi:type="dcterms:W3CDTF">2015-01-25T11:49:46Z</dcterms:created>
  <dcterms:modified xsi:type="dcterms:W3CDTF">2018-04-25T14:48:37Z</dcterms:modified>
</cp:coreProperties>
</file>